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notesSlides/notesSlide8.xml" ContentType="application/vnd.openxmlformats-officedocument.presentationml.notesSlide+xml"/>
  <Override PartName="/ppt/ink/ink2.xml" ContentType="application/inkml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439" r:id="rId2"/>
    <p:sldId id="470" r:id="rId3"/>
    <p:sldId id="492" r:id="rId4"/>
    <p:sldId id="493" r:id="rId5"/>
    <p:sldId id="471" r:id="rId6"/>
    <p:sldId id="472" r:id="rId7"/>
    <p:sldId id="474" r:id="rId8"/>
    <p:sldId id="494" r:id="rId9"/>
    <p:sldId id="475" r:id="rId10"/>
    <p:sldId id="476" r:id="rId11"/>
    <p:sldId id="477" r:id="rId12"/>
    <p:sldId id="487" r:id="rId13"/>
    <p:sldId id="488" r:id="rId14"/>
    <p:sldId id="479" r:id="rId15"/>
    <p:sldId id="481" r:id="rId16"/>
    <p:sldId id="447" r:id="rId17"/>
    <p:sldId id="448" r:id="rId18"/>
    <p:sldId id="449" r:id="rId19"/>
    <p:sldId id="496" r:id="rId20"/>
    <p:sldId id="451" r:id="rId21"/>
    <p:sldId id="454" r:id="rId22"/>
    <p:sldId id="498" r:id="rId23"/>
    <p:sldId id="455" r:id="rId24"/>
    <p:sldId id="497" r:id="rId25"/>
    <p:sldId id="486" r:id="rId26"/>
    <p:sldId id="462" r:id="rId27"/>
    <p:sldId id="464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F1DE49F-F6D4-F341-AD86-A989138F6485}">
          <p14:sldIdLst>
            <p14:sldId id="439"/>
            <p14:sldId id="470"/>
            <p14:sldId id="492"/>
            <p14:sldId id="493"/>
            <p14:sldId id="471"/>
            <p14:sldId id="472"/>
            <p14:sldId id="474"/>
            <p14:sldId id="494"/>
            <p14:sldId id="475"/>
            <p14:sldId id="476"/>
            <p14:sldId id="477"/>
            <p14:sldId id="487"/>
            <p14:sldId id="488"/>
            <p14:sldId id="479"/>
            <p14:sldId id="481"/>
            <p14:sldId id="447"/>
            <p14:sldId id="448"/>
            <p14:sldId id="449"/>
            <p14:sldId id="496"/>
            <p14:sldId id="451"/>
            <p14:sldId id="454"/>
            <p14:sldId id="498"/>
            <p14:sldId id="455"/>
            <p14:sldId id="497"/>
            <p14:sldId id="486"/>
            <p14:sldId id="462"/>
            <p14:sldId id="4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A5"/>
    <a:srgbClr val="FE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57" autoAdjust="0"/>
    <p:restoredTop sz="91896" autoAdjust="0"/>
  </p:normalViewPr>
  <p:slideViewPr>
    <p:cSldViewPr snapToGrid="0" snapToObjects="1">
      <p:cViewPr varScale="1">
        <p:scale>
          <a:sx n="78" d="100"/>
          <a:sy n="78" d="100"/>
        </p:scale>
        <p:origin x="636" y="5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image" Target="../media/image18.w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6312" units="in"/>
          <inkml:channel name="Y" type="integer" max="16520" units="in"/>
          <inkml:channel name="F" type="integer" max="255" units="dev"/>
        </inkml:traceFormat>
        <inkml:channelProperties>
          <inkml:channelProperty channel="X" name="resolution" value="2540.01343" units="1/in"/>
          <inkml:channelProperty channel="Y" name="resolution" value="2540.36597" units="1/in"/>
          <inkml:channelProperty channel="F" name="resolution" value="0" units="1/dev"/>
        </inkml:channelProperties>
      </inkml:inkSource>
      <inkml:timestamp xml:id="ts0" timeString="2018-10-23T01:00:19.444"/>
    </inkml:context>
    <inkml:brush xml:id="br0">
      <inkml:brushProperty name="width" value="0.03528" units="cm"/>
      <inkml:brushProperty name="height" value="0.03528" units="cm"/>
      <inkml:brushProperty name="fitToCurve" value="1"/>
      <inkml:brushProperty name="ignorePressure" value="1"/>
    </inkml:brush>
  </inkml:definitions>
  <inkml:trace contextRef="#ctx0" brushRef="#br0">7 17 7,'0'0'14,"-7"-17"-2,7 17-16,0 0-8,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26312" units="in"/>
          <inkml:channel name="Y" type="integer" max="16520" units="in"/>
          <inkml:channel name="F" type="integer" max="255" units="dev"/>
        </inkml:traceFormat>
        <inkml:channelProperties>
          <inkml:channelProperty channel="X" name="resolution" value="2540.01343" units="1/in"/>
          <inkml:channelProperty channel="Y" name="resolution" value="2540.36597" units="1/in"/>
          <inkml:channelProperty channel="F" name="resolution" value="0" units="1/dev"/>
        </inkml:channelProperties>
      </inkml:inkSource>
      <inkml:timestamp xml:id="ts0" timeString="2018-10-23T01:00:19.444"/>
    </inkml:context>
    <inkml:brush xml:id="br0">
      <inkml:brushProperty name="width" value="0.03528" units="cm"/>
      <inkml:brushProperty name="height" value="0.03528" units="cm"/>
      <inkml:brushProperty name="fitToCurve" value="1"/>
      <inkml:brushProperty name="ignorePressure" value="1"/>
    </inkml:brush>
  </inkml:definitions>
  <inkml:trace contextRef="#ctx0" brushRef="#br0">7 17 7,'0'0'14,"-7"-17"-2,7 17-16,0 0-8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FB299-2540-E440-98E9-CAAD9BD919E2}" type="datetimeFigureOut">
              <a:rPr lang="en-US" smtClean="0"/>
              <a:t>11/2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63D1F3-E474-F946-B4DE-C58D2CF870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327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575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ifferent</a:t>
            </a:r>
            <a:r>
              <a:rPr lang="en-US" baseline="0" dirty="0"/>
              <a:t> types of processes have different range of E-factor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16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10+20+5+1200+80)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200 = 6.575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20</a:t>
            </a:r>
            <a:r>
              <a:rPr lang="en-US" dirty="0"/>
              <a:t> /</a:t>
            </a:r>
            <a:r>
              <a:rPr lang="en-US" baseline="0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07</a:t>
            </a:r>
            <a:r>
              <a:rPr lang="en-US" dirty="0"/>
              <a:t> /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368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529DE464-E42D-4F5E-972E-C1AD17795C30}" type="slidenum">
              <a:rPr lang="fr-FR" altLang="en-US" sz="1300"/>
              <a:pPr algn="r" eaLnBrk="1" hangingPunct="1"/>
              <a:t>14</a:t>
            </a:fld>
            <a:endParaRPr lang="fr-FR" altLang="en-US" sz="130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480975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A773A9D1-0872-45F9-8D0F-A261B5AC0C97}" type="slidenum">
              <a:rPr lang="fr-FR" altLang="en-US" sz="1300"/>
              <a:pPr algn="r" eaLnBrk="1" hangingPunct="1"/>
              <a:t>15</a:t>
            </a:fld>
            <a:endParaRPr lang="fr-FR" altLang="en-US" sz="13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991945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tion type??</a:t>
            </a:r>
          </a:p>
          <a:p>
            <a:r>
              <a:rPr lang="en-US" dirty="0"/>
              <a:t>137 / 275.11</a:t>
            </a:r>
          </a:p>
          <a:p>
            <a:r>
              <a:rPr lang="en-US" dirty="0"/>
              <a:t>49.8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11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2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643043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3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453001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4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2625726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5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48003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6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663485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7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3158569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460AD-B819-B545-895A-10070F34B2D5}" type="slidenum">
              <a:rPr kumimoji="0" lang="en-US" altLang="x-non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x-non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5301303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D495349-CE05-4E29-A11A-84CD066A86DE}" type="slidenum">
              <a:rPr lang="fr-FR" altLang="en-US" sz="1300"/>
              <a:pPr algn="r" eaLnBrk="1" hangingPunct="1"/>
              <a:t>10</a:t>
            </a:fld>
            <a:endParaRPr lang="fr-FR" altLang="en-US" sz="130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09646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9D9CF-F6DA-4BF1-AE00-3B5E3A7840CC}" type="datetime1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6380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BE3D55-93F9-43C4-ACFB-89251D4C8820}" type="datetime1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295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9EC09-926E-411A-BA3A-F3382B395692}" type="datetime1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421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79926" y="6041708"/>
            <a:ext cx="791804" cy="81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989" y="6004757"/>
            <a:ext cx="1105975" cy="79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67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B7270-27BB-4693-ADA0-518695A0E286}" type="datetime1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12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D3FF1-AAB0-4542-B5A3-0F5A900165EE}" type="datetime1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858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0024D-D7CE-47D8-86D4-3F76B10BCE6B}" type="datetime1">
              <a:rPr lang="en-US" smtClean="0"/>
              <a:t>11/2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6150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AC266-7F94-4099-B11F-57A58251E696}" type="datetime1">
              <a:rPr lang="en-US" smtClean="0"/>
              <a:t>11/27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762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DD8C-D2A8-4B87-9C85-CD5A53EFBB5F}" type="datetime1">
              <a:rPr lang="en-US" smtClean="0"/>
              <a:t>11/2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83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53815-2B9D-4A6F-8E8B-9C36FE088360}" type="datetime1">
              <a:rPr lang="en-US" smtClean="0"/>
              <a:t>11/27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07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62AB6-C761-49F8-B0B0-40331FBA9B90}" type="datetime1">
              <a:rPr lang="en-US" smtClean="0"/>
              <a:t>11/2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23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74553-B635-4971-892C-B0B629D72E95}" type="datetime1">
              <a:rPr lang="en-US" smtClean="0"/>
              <a:t>11/2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3519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96EE97-230C-4792-A0A4-5F9B7285ADAC}" type="datetime1">
              <a:rPr lang="en-US" smtClean="0"/>
              <a:t>11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35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tiff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6.bin"/><Relationship Id="rId2" Type="http://schemas.openxmlformats.org/officeDocument/2006/relationships/tags" Target="../tags/tag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w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9.bin"/><Relationship Id="rId2" Type="http://schemas.openxmlformats.org/officeDocument/2006/relationships/tags" Target="../tags/tag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w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w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iff"/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0.emf"/><Relationship Id="rId3" Type="http://schemas.openxmlformats.org/officeDocument/2006/relationships/notesSlide" Target="../notesSlides/notesSlide7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0.emf"/><Relationship Id="rId3" Type="http://schemas.openxmlformats.org/officeDocument/2006/relationships/notesSlide" Target="../notesSlides/notesSlide8.xml"/><Relationship Id="rId7" Type="http://schemas.openxmlformats.org/officeDocument/2006/relationships/customXml" Target="../ink/ink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5.png"/><Relationship Id="rId4" Type="http://schemas.openxmlformats.org/officeDocument/2006/relationships/image" Target="../media/image10.wmf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D8AEE64A-2CC2-4A7A-B06B-4A92B2EC43DC}"/>
              </a:ext>
            </a:extLst>
          </p:cNvPr>
          <p:cNvSpPr txBox="1">
            <a:spLocks/>
          </p:cNvSpPr>
          <p:nvPr/>
        </p:nvSpPr>
        <p:spPr>
          <a:xfrm>
            <a:off x="1523998" y="1613333"/>
            <a:ext cx="9144000" cy="4213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ea typeface="+mn-ea"/>
                <a:cs typeface="+mn-cs"/>
              </a:rPr>
              <a:t>Metr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B1D73F-817C-43DB-97A4-82A1ABDE7B42}"/>
              </a:ext>
            </a:extLst>
          </p:cNvPr>
          <p:cNvSpPr txBox="1"/>
          <p:nvPr/>
        </p:nvSpPr>
        <p:spPr>
          <a:xfrm>
            <a:off x="650946" y="6546791"/>
            <a:ext cx="73100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Commons, Life Cycle Think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uthor: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National Institute of Standards and Technology (NIST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BFC0E2-DC87-4F04-A232-BA857E688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292" y="2144106"/>
            <a:ext cx="4557412" cy="440268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11649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350" y="4446658"/>
            <a:ext cx="1020198" cy="14962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243B65A-7748-2A41-A117-7EF994700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1817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20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60421" name="Rectangle 3"/>
          <p:cNvSpPr>
            <a:spLocks noGrp="1" noChangeArrowheads="1"/>
          </p:cNvSpPr>
          <p:nvPr>
            <p:ph type="title" idx="4294967295"/>
          </p:nvPr>
        </p:nvSpPr>
        <p:spPr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The Environmental Factor (</a:t>
            </a:r>
            <a:r>
              <a:rPr lang="en-US" altLang="en-US" sz="4000" b="1" i="1" dirty="0">
                <a:latin typeface="Arial" panose="020B0604020202020204" pitchFamily="34" charset="0"/>
                <a:cs typeface="Arial" panose="020B0604020202020204" pitchFamily="34" charset="0"/>
              </a:rPr>
              <a:t>E-Factor</a:t>
            </a:r>
            <a:r>
              <a:rPr lang="en-US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60422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4679950"/>
          </a:xfrm>
          <a:noFill/>
        </p:spPr>
        <p:txBody>
          <a:bodyPr/>
          <a:lstStyle/>
          <a:p>
            <a:pPr eaLnBrk="1" hangingPunct="1"/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 Proposed by R. Sheldon in 1992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0424" name="Object 8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0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60424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425" name="Object 9"/>
          <p:cNvGraphicFramePr>
            <a:graphicFrameLocks noChangeAspect="1"/>
          </p:cNvGraphicFramePr>
          <p:nvPr>
            <p:extLst/>
          </p:nvPr>
        </p:nvGraphicFramePr>
        <p:xfrm>
          <a:off x="2960688" y="3898900"/>
          <a:ext cx="5905500" cy="2624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1" name="CS ChemDraw Drawing" r:id="rId7" imgW="2948411" imgH="1310171" progId="ChemDraw.Document.6.0">
                  <p:embed/>
                </p:oleObj>
              </mc:Choice>
              <mc:Fallback>
                <p:oleObj name="CS ChemDraw Drawing" r:id="rId7" imgW="2948411" imgH="1310171" progId="ChemDraw.Document.6.0">
                  <p:embed/>
                  <p:pic>
                    <p:nvPicPr>
                      <p:cNvPr id="6042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60688" y="3898900"/>
                        <a:ext cx="5905500" cy="2624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10354238" y="282737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03953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CA" dirty="0"/>
              <a:t>Classical synthesis of </a:t>
            </a:r>
            <a:r>
              <a:rPr lang="en-CA" dirty="0" err="1"/>
              <a:t>phloroglucinol</a:t>
            </a:r>
            <a:r>
              <a:rPr lang="en-CA" dirty="0"/>
              <a:t>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/>
          <a:srcRect l="9005" t="27084" r="51757" b="33593"/>
          <a:stretch/>
        </p:blipFill>
        <p:spPr>
          <a:xfrm>
            <a:off x="3345873" y="2381250"/>
            <a:ext cx="5105401" cy="287655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967345" y="5410884"/>
            <a:ext cx="69480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/>
              <a:t>Compound masses are expressed in gram per mol.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0FFF4655-8E73-4E07-81D6-C4A6E6EBB973}"/>
              </a:ext>
            </a:extLst>
          </p:cNvPr>
          <p:cNvSpPr txBox="1">
            <a:spLocks noChangeArrowheads="1"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The Environmental Factor (</a:t>
            </a:r>
            <a:r>
              <a:rPr lang="en-US" altLang="en-US" sz="4000" b="1" i="1" dirty="0">
                <a:latin typeface="Arial" panose="020B0604020202020204" pitchFamily="34" charset="0"/>
                <a:cs typeface="Arial" panose="020B0604020202020204" pitchFamily="34" charset="0"/>
              </a:rPr>
              <a:t>E-Factor</a:t>
            </a:r>
            <a:r>
              <a:rPr lang="en-US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" name="Scale8">
            <a:extLst>
              <a:ext uri="{FF2B5EF4-FFF2-40B4-BE49-F238E27FC236}">
                <a16:creationId xmlns:a16="http://schemas.microsoft.com/office/drawing/2014/main" id="{F26EFC1A-2558-417B-9917-97E94C53F3F0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0354238" y="282737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5254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9957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Environmental Factor (</a:t>
            </a:r>
            <a:r>
              <a:rPr lang="en-US" sz="4000" b="1" i="1" dirty="0">
                <a:latin typeface="Arial" panose="020B0604020202020204" pitchFamily="34" charset="0"/>
                <a:cs typeface="Arial" panose="020B0604020202020204" pitchFamily="34" charset="0"/>
              </a:rPr>
              <a:t>E-Factor</a:t>
            </a:r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437" y="1218759"/>
            <a:ext cx="11225270" cy="2672526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epends on the definition of waste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Non-recoverable starting materials, solvent, catalysts.</a:t>
            </a:r>
          </a:p>
          <a:p>
            <a:pPr lvl="1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ndesired side products.</a:t>
            </a:r>
          </a:p>
          <a:p>
            <a:pPr marL="0" indent="0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maller E-factor means closer to zero waste</a:t>
            </a:r>
          </a:p>
          <a:p>
            <a:pPr marL="0" indent="0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-factor can be used to estimate/calculate the total waste generated:</a:t>
            </a:r>
          </a:p>
          <a:p>
            <a:pPr marL="0" indent="0" algn="ctr">
              <a:buNone/>
            </a:pP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mount of Waste = Amount of Product x E-facto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962150" y="4657724"/>
          <a:ext cx="8267700" cy="1676400"/>
        </p:xfrm>
        <a:graphic>
          <a:graphicData uri="http://schemas.openxmlformats.org/drawingml/2006/table">
            <a:tbl>
              <a:tblPr/>
              <a:tblGrid>
                <a:gridCol w="2066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Industry se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Annual production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E-fa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Waste produced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Oil refining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8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Ca. 0.1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5   </a:t>
                      </a:r>
                      <a:r>
                        <a:rPr lang="en-US" sz="1600" dirty="0">
                          <a:effectLst/>
                        </a:rPr>
                        <a:t>–   10</a:t>
                      </a:r>
                      <a:r>
                        <a:rPr lang="en-US" sz="1600" baseline="30000" dirty="0">
                          <a:effectLst/>
                        </a:rPr>
                        <a:t>7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Bulk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4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&lt;1–5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4   </a:t>
                      </a:r>
                      <a:r>
                        <a:rPr lang="en-US" sz="1600" dirty="0">
                          <a:effectLst/>
                        </a:rPr>
                        <a:t>–   5 × 10</a:t>
                      </a:r>
                      <a:r>
                        <a:rPr lang="en-US" sz="1600" baseline="30000" dirty="0">
                          <a:effectLst/>
                        </a:rPr>
                        <a:t>6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Fine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2</a:t>
                      </a:r>
                      <a:r>
                        <a:rPr lang="en-US" sz="1600" dirty="0">
                          <a:effectLst/>
                        </a:rPr>
                        <a:t>−10</a:t>
                      </a:r>
                      <a:r>
                        <a:rPr lang="en-US" sz="1600" baseline="30000" dirty="0">
                          <a:effectLst/>
                        </a:rPr>
                        <a:t>4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5–5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5 ×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Pharmaceut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–10</a:t>
                      </a:r>
                      <a:r>
                        <a:rPr lang="en-US" sz="1600" baseline="30000">
                          <a:effectLst/>
                        </a:rPr>
                        <a:t>3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25–10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2.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048000" y="3957880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E-factor = total waste (g) / product (g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CBE8621-F6BD-47AD-A570-790EDDEA724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679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52650" y="238997"/>
            <a:ext cx="7886700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E-Factor Example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9008883"/>
              </p:ext>
            </p:extLst>
          </p:nvPr>
        </p:nvGraphicFramePr>
        <p:xfrm>
          <a:off x="2152650" y="1935993"/>
          <a:ext cx="7053706" cy="2029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CS ChemDraw Drawing" r:id="rId4" imgW="4613029" imgH="1327341" progId="ChemDraw.Document.6.0">
                  <p:embed/>
                </p:oleObj>
              </mc:Choice>
              <mc:Fallback>
                <p:oleObj name="CS ChemDraw Drawing" r:id="rId4" imgW="4613029" imgH="1327341" progId="ChemDraw.Document.6.0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52650" y="1935993"/>
                        <a:ext cx="7053706" cy="2029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84666" y="1132278"/>
            <a:ext cx="47293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riedel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-Craft Alkylation (Substitution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84666" y="1524745"/>
            <a:ext cx="6955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umbers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present the mass of the chemical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u="sng" dirty="0">
                <a:latin typeface="Arial" panose="020B0604020202020204" pitchFamily="34" charset="0"/>
                <a:cs typeface="Arial" panose="020B0604020202020204" pitchFamily="34" charset="0"/>
              </a:rPr>
              <a:t>after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action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299110"/>
              </p:ext>
            </p:extLst>
          </p:nvPr>
        </p:nvGraphicFramePr>
        <p:xfrm>
          <a:off x="688369" y="4309256"/>
          <a:ext cx="9923122" cy="7644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7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66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3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03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67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20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err="1">
                          <a:effectLst/>
                        </a:rPr>
                        <a:t>Chloroethan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Catalys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Solven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4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2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E-Factor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657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5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20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8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6.57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7200673" y="5152388"/>
            <a:ext cx="44743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-factor = total waste (g) / product (g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E415560-32EB-43DD-9526-9EC1D43A142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688369" y="5300451"/>
          <a:ext cx="5981432" cy="1229449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1993186">
                  <a:extLst>
                    <a:ext uri="{9D8B030D-6E8A-4147-A177-3AD203B41FA5}">
                      <a16:colId xmlns:a16="http://schemas.microsoft.com/office/drawing/2014/main" val="4132764065"/>
                    </a:ext>
                  </a:extLst>
                </a:gridCol>
                <a:gridCol w="2521372">
                  <a:extLst>
                    <a:ext uri="{9D8B030D-6E8A-4147-A177-3AD203B41FA5}">
                      <a16:colId xmlns:a16="http://schemas.microsoft.com/office/drawing/2014/main" val="289607281"/>
                    </a:ext>
                  </a:extLst>
                </a:gridCol>
                <a:gridCol w="1466874">
                  <a:extLst>
                    <a:ext uri="{9D8B030D-6E8A-4147-A177-3AD203B41FA5}">
                      <a16:colId xmlns:a16="http://schemas.microsoft.com/office/drawing/2014/main" val="2500107494"/>
                    </a:ext>
                  </a:extLst>
                </a:gridCol>
              </a:tblGrid>
              <a:tr h="463351">
                <a:tc>
                  <a:txBody>
                    <a:bodyPr/>
                    <a:lstStyle/>
                    <a:p>
                      <a:pPr algn="ctr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At 10 g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3-ton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58901418"/>
                  </a:ext>
                </a:extLst>
              </a:tr>
              <a:tr h="35290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Desired</a:t>
                      </a:r>
                      <a:r>
                        <a:rPr lang="en-US" sz="2000" u="none" strike="noStrike" baseline="0" dirty="0">
                          <a:effectLst/>
                        </a:rPr>
                        <a:t> produc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55423180"/>
                  </a:ext>
                </a:extLst>
              </a:tr>
              <a:tr h="41319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Wast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315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9.725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7977995"/>
                  </a:ext>
                </a:extLst>
              </a:tr>
            </a:tbl>
          </a:graphicData>
        </a:graphic>
      </p:graphicFrame>
      <p:sp>
        <p:nvSpPr>
          <p:cNvPr id="4" name="Left Arrow Callout 3"/>
          <p:cNvSpPr/>
          <p:nvPr/>
        </p:nvSpPr>
        <p:spPr>
          <a:xfrm>
            <a:off x="6780944" y="5965127"/>
            <a:ext cx="5024063" cy="725001"/>
          </a:xfrm>
          <a:prstGeom prst="leftArrowCallou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dustrial reactions are run on the big scale</a:t>
            </a:r>
          </a:p>
        </p:txBody>
      </p:sp>
    </p:spTree>
    <p:extLst>
      <p:ext uri="{BB962C8B-B14F-4D97-AF65-F5344CB8AC3E}">
        <p14:creationId xmlns:p14="http://schemas.microsoft.com/office/powerpoint/2010/main" val="2174257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2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8373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363886" y="92075"/>
            <a:ext cx="10515600" cy="1325563"/>
          </a:xfrm>
          <a:noFill/>
        </p:spPr>
        <p:txBody>
          <a:bodyPr>
            <a:normAutofit/>
          </a:bodyPr>
          <a:lstStyle/>
          <a:p>
            <a:pPr eaLnBrk="1" hangingPunct="1"/>
            <a:r>
              <a:rPr lang="en-US" alt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Process Mass Intensity (PMI)</a:t>
            </a:r>
          </a:p>
        </p:txBody>
      </p:sp>
      <p:sp>
        <p:nvSpPr>
          <p:cNvPr id="58374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4679950"/>
          </a:xfrm>
          <a:noFill/>
        </p:spPr>
        <p:txBody>
          <a:bodyPr/>
          <a:lstStyle/>
          <a:p>
            <a:pPr marL="0" indent="0" eaLnBrk="1" hangingPunct="1">
              <a:buNone/>
            </a:pPr>
            <a:r>
              <a:rPr lang="en-US" alt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Mass Intensity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altLang="en-US" i="1" dirty="0">
                <a:latin typeface="Arial" panose="020B0604020202020204" pitchFamily="34" charset="0"/>
                <a:cs typeface="Arial" panose="020B0604020202020204" pitchFamily="34" charset="0"/>
              </a:rPr>
              <a:t>E-factor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 + 1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8376" name="Object 8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4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58376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8379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71978639"/>
              </p:ext>
            </p:extLst>
          </p:nvPr>
        </p:nvGraphicFramePr>
        <p:xfrm>
          <a:off x="2535843" y="3846879"/>
          <a:ext cx="5686425" cy="1890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" name="CS ChemDraw Drawing" r:id="rId7" imgW="2849880" imgH="947420" progId="ChemDraw.Document.6.0">
                  <p:embed/>
                </p:oleObj>
              </mc:Choice>
              <mc:Fallback>
                <p:oleObj name="CS ChemDraw Drawing" r:id="rId7" imgW="2849880" imgH="947420" progId="ChemDraw.Document.6.0">
                  <p:embed/>
                  <p:pic>
                    <p:nvPicPr>
                      <p:cNvPr id="58379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35843" y="3846879"/>
                        <a:ext cx="5686425" cy="1890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222268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90088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6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4277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365125"/>
            <a:ext cx="10515600" cy="979581"/>
          </a:xfrm>
          <a:noFill/>
        </p:spPr>
        <p:txBody>
          <a:bodyPr/>
          <a:lstStyle/>
          <a:p>
            <a:pPr eaLnBrk="1" hangingPunct="1"/>
            <a:r>
              <a:rPr lang="en-US" altLang="en-US" b="1" dirty="0">
                <a:latin typeface="Arial" panose="020B0604020202020204" pitchFamily="34" charset="0"/>
                <a:cs typeface="Arial" panose="020B0604020202020204" pitchFamily="34" charset="0"/>
              </a:rPr>
              <a:t>Atom Economy</a:t>
            </a:r>
          </a:p>
        </p:txBody>
      </p:sp>
      <p:sp>
        <p:nvSpPr>
          <p:cNvPr id="54278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38470" y="3434529"/>
            <a:ext cx="5338633" cy="2454060"/>
          </a:xfrm>
          <a:noFill/>
        </p:spPr>
        <p:txBody>
          <a:bodyPr/>
          <a:lstStyle/>
          <a:p>
            <a:pPr marL="0" indent="0" eaLnBrk="1" hangingPunct="1">
              <a:buNone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tom economy is one of the 12 principles of green chemistry</a:t>
            </a:r>
          </a:p>
          <a:p>
            <a:pPr marL="0" indent="0">
              <a:buNone/>
            </a:pP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nowadays</a:t>
            </a:r>
            <a:r>
              <a:rPr lang="en-US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often used as a generic term to talk about maximizing conversion from starting materials into products </a:t>
            </a: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279" name="Rectangle 7"/>
          <p:cNvSpPr>
            <a:spLocks noChangeArrowheads="1"/>
          </p:cNvSpPr>
          <p:nvPr/>
        </p:nvSpPr>
        <p:spPr bwMode="auto">
          <a:xfrm>
            <a:off x="2667000" y="1746759"/>
            <a:ext cx="6781800" cy="1200329"/>
          </a:xfrm>
          <a:prstGeom prst="rect">
            <a:avLst/>
          </a:prstGeom>
          <a:solidFill>
            <a:srgbClr val="CC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tom economy demands to minimize the quantity of matter that will not be in the desired product at the end.</a:t>
            </a:r>
            <a:r>
              <a:rPr lang="en-US" alt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338470" y="6323598"/>
            <a:ext cx="92777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oores A. “Atom economy, principles and a few examples."  in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Green Catalysi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09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 Wile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3494186"/>
            <a:ext cx="4174362" cy="222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097024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6316753" y="4293276"/>
          <a:ext cx="3888404" cy="174900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944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7402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Reag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</a:t>
                      </a:r>
                      <a:r>
                        <a:rPr lang="en-US" sz="1800" baseline="-25000" dirty="0"/>
                        <a:t>W</a:t>
                      </a:r>
                      <a:r>
                        <a:rPr lang="en-US" sz="1800" baseline="0" dirty="0"/>
                        <a:t> (g mol</a:t>
                      </a:r>
                      <a:r>
                        <a:rPr lang="en-US" sz="1800" baseline="30000" dirty="0"/>
                        <a:t>-1</a:t>
                      </a:r>
                      <a:r>
                        <a:rPr lang="en-US" sz="1800" baseline="0" dirty="0"/>
                        <a:t>)</a:t>
                      </a:r>
                      <a:endParaRPr lang="en-US" sz="1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4.1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02.9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98.0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4 (Desired Produc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3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97190" y="2614562"/>
            <a:ext cx="93376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OH</a:t>
            </a:r>
            <a:r>
              <a:rPr lang="en-US" sz="2400" dirty="0"/>
              <a:t> + </a:t>
            </a:r>
            <a:r>
              <a:rPr lang="en-US" sz="2400" dirty="0" err="1"/>
              <a:t>NaBr</a:t>
            </a:r>
            <a:r>
              <a:rPr lang="en-US" sz="2400" dirty="0"/>
              <a:t> + H</a:t>
            </a:r>
            <a:r>
              <a:rPr lang="en-US" sz="2400" baseline="-25000" dirty="0"/>
              <a:t>2</a:t>
            </a:r>
            <a:r>
              <a:rPr lang="en-US" sz="2400" dirty="0"/>
              <a:t>SO</a:t>
            </a:r>
            <a:r>
              <a:rPr lang="en-US" sz="2400" baseline="-25000" dirty="0"/>
              <a:t>4</a:t>
            </a:r>
            <a:r>
              <a:rPr lang="en-US" sz="2400" dirty="0"/>
              <a:t> </a:t>
            </a:r>
            <a:r>
              <a:rPr lang="en-US" sz="2400" dirty="0">
                <a:sym typeface="Wingdings"/>
              </a:rPr>
              <a:t> </a:t>
            </a:r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Br</a:t>
            </a:r>
            <a:r>
              <a:rPr lang="en-US" sz="2400" dirty="0"/>
              <a:t>  +  NaHSO</a:t>
            </a:r>
            <a:r>
              <a:rPr lang="en-US" sz="2400" baseline="-25000" dirty="0"/>
              <a:t>4    </a:t>
            </a:r>
            <a:r>
              <a:rPr lang="en-US" sz="2400" dirty="0"/>
              <a:t>+ H</a:t>
            </a:r>
            <a:r>
              <a:rPr lang="en-US" sz="2400" baseline="-25000" dirty="0"/>
              <a:t>2</a:t>
            </a:r>
            <a:r>
              <a:rPr lang="en-US" sz="2400" dirty="0"/>
              <a:t>O</a:t>
            </a:r>
          </a:p>
          <a:p>
            <a:r>
              <a:rPr lang="en-US" dirty="0"/>
              <a:t>	 1                                2               3                                 4                                    5                     6</a:t>
            </a:r>
            <a:r>
              <a:rPr lang="en-US" sz="2000" dirty="0"/>
              <a:t>			                                                     </a:t>
            </a:r>
            <a:r>
              <a:rPr lang="en-US" sz="1600" dirty="0"/>
              <a:t>(Desired Product)  </a:t>
            </a:r>
            <a:endParaRPr lang="en-US" sz="2000" dirty="0"/>
          </a:p>
        </p:txBody>
      </p:sp>
      <p:sp>
        <p:nvSpPr>
          <p:cNvPr id="9" name="Right Brace 8"/>
          <p:cNvSpPr/>
          <p:nvPr/>
        </p:nvSpPr>
        <p:spPr>
          <a:xfrm>
            <a:off x="10270154" y="4673600"/>
            <a:ext cx="150725" cy="10159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420879" y="4983111"/>
            <a:ext cx="16722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275.11 g mol</a:t>
            </a:r>
            <a:r>
              <a:rPr lang="en-US" sz="2000" baseline="30000" dirty="0"/>
              <a:t>-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37</m:t>
                          </m:r>
                        </m:num>
                        <m:den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74.12+102.91+98.08</m:t>
                              </m:r>
                            </m:e>
                          </m:d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100%</m:t>
                      </m:r>
                    </m:oMath>
                  </m:oMathPara>
                </a14:m>
                <a:endParaRPr lang="en-US" i="1" dirty="0">
                  <a:latin typeface="Cambria Math" panose="02040503050406030204" pitchFamily="18" charset="0"/>
                </a:endParaRPr>
              </a:p>
              <a:p>
                <a:endParaRPr lang="en-US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49.8 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blipFill>
                <a:blip r:embed="rId3"/>
                <a:stretch>
                  <a:fillRect l="-1399" t="-1124" b="-78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239964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Atom Economy: Example 1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723717" y="1955143"/>
            <a:ext cx="64862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	*including the stoichiometric coeffici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58142E7-6017-47E5-8771-BEAFBCEFF17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/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dirty="0"/>
                  <a:t>	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Atom</m:t>
                    </m:r>
                    <m:r>
                      <a:rPr lang="en-US" i="1">
                        <a:latin typeface="Cambria Math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Economy</m:t>
                    </m:r>
                    <m:r>
                      <a:rPr lang="en-US" i="1">
                        <a:latin typeface="Cambria Math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desired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product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all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reactants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den>
                    </m:f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  <a:blipFill>
                <a:blip r:embed="rId4"/>
                <a:stretch>
                  <a:fillRect b="-121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214375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49BDEB2-17C2-4CD3-9A5C-FFD59B3458C5}"/>
              </a:ext>
            </a:extLst>
          </p:cNvPr>
          <p:cNvSpPr/>
          <p:nvPr/>
        </p:nvSpPr>
        <p:spPr>
          <a:xfrm>
            <a:off x="6221506" y="1364923"/>
            <a:ext cx="5432612" cy="498763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09E0353-9EE8-42B8-9F2C-0E0F369F5323}"/>
              </a:ext>
            </a:extLst>
          </p:cNvPr>
          <p:cNvSpPr/>
          <p:nvPr/>
        </p:nvSpPr>
        <p:spPr>
          <a:xfrm>
            <a:off x="537882" y="1408607"/>
            <a:ext cx="5432612" cy="4987634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608" y="215287"/>
            <a:ext cx="11402785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tom Economy: Example 2 - Ibuprofen Synthesis</a:t>
            </a:r>
          </a:p>
        </p:txBody>
      </p:sp>
      <p:sp>
        <p:nvSpPr>
          <p:cNvPr id="4" name="Rectangle 3"/>
          <p:cNvSpPr/>
          <p:nvPr/>
        </p:nvSpPr>
        <p:spPr>
          <a:xfrm>
            <a:off x="945136" y="6453870"/>
            <a:ext cx="107562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From: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Cann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nd Connelly “Real World Cases in Green Chemistry”, ACS: Washington, DC (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000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4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1350" y="1501767"/>
            <a:ext cx="480059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The Problem: </a:t>
            </a:r>
            <a:endParaRPr lang="en-US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  <a:p>
            <a:pPr algn="just"/>
            <a:r>
              <a:rPr lang="en-US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The traditional industrial synthesis of ibuprofen was developed and patented by the Boots Company of England in the 1960s (U.S. Patent 3,385,886). This synthesis is </a:t>
            </a:r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a six-step process </a:t>
            </a:r>
            <a:r>
              <a:rPr lang="en-US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and </a:t>
            </a:r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results in large quantities of unwanted waste </a:t>
            </a:r>
            <a:r>
              <a:rPr lang="en-US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chemical byproducts that must be disposed of or otherwise managed. Much of the waste that is generated is a result of </a:t>
            </a:r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many of the atoms of the reactants not being incorporated into the desired product</a:t>
            </a:r>
            <a:r>
              <a:rPr lang="en-US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 (ibuprofen) but into unwanted byproducts (poor atom economy/atom utilization). The process also uses a variety of solvents, and catalysts (if any) are not used in stoichiometric amounts.</a:t>
            </a:r>
          </a:p>
        </p:txBody>
      </p:sp>
      <p:sp>
        <p:nvSpPr>
          <p:cNvPr id="6" name="Rectangle 5"/>
          <p:cNvSpPr/>
          <p:nvPr/>
        </p:nvSpPr>
        <p:spPr>
          <a:xfrm>
            <a:off x="6438899" y="1501767"/>
            <a:ext cx="48006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The Solution:</a:t>
            </a:r>
          </a:p>
          <a:p>
            <a:pPr algn="just"/>
            <a:r>
              <a:rPr lang="en-US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The BHC Company has developed and implemented a new greener industrial </a:t>
            </a:r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synthesis of ibuprofen that is only three steps</a:t>
            </a:r>
            <a:r>
              <a:rPr lang="en-US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 (U.S. Patents 4,981,995 and 5,068,448, both issued in 1991). In this process, </a:t>
            </a:r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most of the atoms of the reactants are incorporated into the desired product </a:t>
            </a:r>
            <a:r>
              <a:rPr lang="en-US" dirty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(ibuprofen). This results in only small amounts of unwanted byproducts (very good atom economy/atom utilization) thus lessening the need for disposal and mediation of waste products. There are other environmental advantages to the green synthesis versus the brown synthesis, including solvents and catalyst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D058292-1984-4B3B-8DC1-BC9998341B1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315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6253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3" name="Rounded Rectangle 2"/>
          <p:cNvSpPr/>
          <p:nvPr/>
        </p:nvSpPr>
        <p:spPr>
          <a:xfrm>
            <a:off x="3356682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Brown synthesis</a:t>
            </a:r>
          </a:p>
        </p:txBody>
      </p:sp>
    </p:spTree>
    <p:extLst>
      <p:ext uri="{BB962C8B-B14F-4D97-AF65-F5344CB8AC3E}">
        <p14:creationId xmlns:p14="http://schemas.microsoft.com/office/powerpoint/2010/main" val="33517595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1268" y="61093"/>
            <a:ext cx="3175152" cy="6640421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7254815" y="2627317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40479356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Arial" panose="020B0604020202020204" pitchFamily="34" charset="0"/>
                <a:cs typeface="Arial" panose="020B0604020202020204" pitchFamily="34" charset="0"/>
              </a:rPr>
              <a:t>Conventional Metrics: Yiel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7058036"/>
              </p:ext>
            </p:extLst>
          </p:nvPr>
        </p:nvGraphicFramePr>
        <p:xfrm>
          <a:off x="2024063" y="3305175"/>
          <a:ext cx="7143750" cy="292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4" name="CS ChemDraw Drawing" r:id="rId5" imgW="3561391" imgH="1455068" progId="ChemDraw.Document.6.0">
                  <p:embed/>
                </p:oleObj>
              </mc:Choice>
              <mc:Fallback>
                <p:oleObj name="CS ChemDraw Drawing" r:id="rId5" imgW="3561391" imgH="1455068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4063" y="3305175"/>
                        <a:ext cx="7143750" cy="292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98128" y="6335305"/>
            <a:ext cx="122536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The Algebra of Organic Synthesis: Green Metrics, Design Strategy, Route Selection, and Optimizati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J.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Andrao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11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, CRC Press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5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1031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0831" y="148974"/>
            <a:ext cx="8090338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ercise: Calculate AE of the Greener Synthesis of Ibuprofen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49753" y="2034189"/>
            <a:ext cx="10692493" cy="4044600"/>
            <a:chOff x="661307" y="2140300"/>
            <a:chExt cx="10692493" cy="40446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1307" y="2140300"/>
              <a:ext cx="10692493" cy="4044600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>
            <a:xfrm>
              <a:off x="4158343" y="3048000"/>
              <a:ext cx="5998028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624942" y="5596164"/>
              <a:ext cx="6825344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E52E72-6033-4577-9E99-37837FA8921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9921482" y="31737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3F79922-4E74-4891-978F-7FF9674261E4}"/>
              </a:ext>
            </a:extLst>
          </p:cNvPr>
          <p:cNvSpPr/>
          <p:nvPr/>
        </p:nvSpPr>
        <p:spPr>
          <a:xfrm>
            <a:off x="3838524" y="2907562"/>
            <a:ext cx="3589142" cy="143451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E104E5E-B5DB-4E09-87C0-FC04AFBE7629}"/>
              </a:ext>
            </a:extLst>
          </p:cNvPr>
          <p:cNvSpPr/>
          <p:nvPr/>
        </p:nvSpPr>
        <p:spPr>
          <a:xfrm>
            <a:off x="7506718" y="2895361"/>
            <a:ext cx="3589142" cy="143451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4730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BE23183-B201-4CCB-AAD3-7468E5E97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0831" y="148974"/>
            <a:ext cx="8090338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ercise: Calculate AE of the Greener Synthesis of Ibuprofe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0794F0-AAA5-4991-89A7-1C551AB0B0E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08805627-EBA4-4E68-88F9-5F05F46A5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53" y="2034189"/>
            <a:ext cx="10692493" cy="4044600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9921482" y="31737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9548028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6253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3" name="Rounded Rectangle 2"/>
          <p:cNvSpPr/>
          <p:nvPr/>
        </p:nvSpPr>
        <p:spPr>
          <a:xfrm>
            <a:off x="3356682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own synthesis</a:t>
            </a:r>
          </a:p>
        </p:txBody>
      </p:sp>
    </p:spTree>
    <p:extLst>
      <p:ext uri="{BB962C8B-B14F-4D97-AF65-F5344CB8AC3E}">
        <p14:creationId xmlns:p14="http://schemas.microsoft.com/office/powerpoint/2010/main" val="42051278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16" y="1900344"/>
            <a:ext cx="11031851" cy="408301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7397" y="180526"/>
            <a:ext cx="10497207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Brown Synthesis of Ibuprofe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1C93E1-4198-4C08-B237-7DC9C2B6DB4E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9986480" y="302784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CB2F953-90D5-4C72-891A-F22B5FF12D4A}"/>
              </a:ext>
            </a:extLst>
          </p:cNvPr>
          <p:cNvSpPr/>
          <p:nvPr/>
        </p:nvSpPr>
        <p:spPr>
          <a:xfrm>
            <a:off x="3838524" y="2619059"/>
            <a:ext cx="3589142" cy="267663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419F2BC-E319-41D3-B5E6-EE2221B4E222}"/>
              </a:ext>
            </a:extLst>
          </p:cNvPr>
          <p:cNvSpPr/>
          <p:nvPr/>
        </p:nvSpPr>
        <p:spPr>
          <a:xfrm>
            <a:off x="7506718" y="2606858"/>
            <a:ext cx="3589142" cy="267663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54797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16" y="1900344"/>
            <a:ext cx="11031851" cy="408301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7397" y="180526"/>
            <a:ext cx="10497207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Brown Synthesis of Ibuprofe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1C93E1-4198-4C08-B237-7DC9C2B6DB4E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9986480" y="302784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</p:spTree>
    <p:extLst>
      <p:ext uri="{BB962C8B-B14F-4D97-AF65-F5344CB8AC3E}">
        <p14:creationId xmlns:p14="http://schemas.microsoft.com/office/powerpoint/2010/main" val="41825143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31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664" y="124661"/>
            <a:ext cx="3175152" cy="66404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27821" y="2783151"/>
            <a:ext cx="2286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Ibuprofen</a:t>
            </a:r>
          </a:p>
          <a:p>
            <a:pPr algn="ctr"/>
            <a:r>
              <a:rPr lang="en-US" sz="4000" b="1" dirty="0"/>
              <a:t>Synthesis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54804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736493" y="1385298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54804" y="2154148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E=40%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736493" y="215243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E=77%</a:t>
            </a:r>
          </a:p>
        </p:txBody>
      </p:sp>
    </p:spTree>
    <p:extLst>
      <p:ext uri="{BB962C8B-B14F-4D97-AF65-F5344CB8AC3E}">
        <p14:creationId xmlns:p14="http://schemas.microsoft.com/office/powerpoint/2010/main" val="41591550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3310" y="136772"/>
            <a:ext cx="8145379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Green </a:t>
            </a:r>
            <a:r>
              <a:rPr lang="en-US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3600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mistry-Related Metrics </a:t>
            </a:r>
            <a:r>
              <a:rPr lang="en-US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US" sz="3600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d in Chemical </a:t>
            </a:r>
            <a:r>
              <a:rPr lang="en-US" sz="3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3600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ufacturing</a:t>
            </a:r>
            <a:endParaRPr lang="en-US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609"/>
          <a:stretch/>
        </p:blipFill>
        <p:spPr>
          <a:xfrm>
            <a:off x="228272" y="1944889"/>
            <a:ext cx="6707208" cy="4076020"/>
          </a:xfrm>
        </p:spPr>
      </p:pic>
      <p:sp>
        <p:nvSpPr>
          <p:cNvPr id="4" name="Rectangle 3"/>
          <p:cNvSpPr/>
          <p:nvPr/>
        </p:nvSpPr>
        <p:spPr>
          <a:xfrm>
            <a:off x="7367067" y="1944889"/>
            <a:ext cx="458736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hemical manufacturer responses (</a:t>
            </a:r>
            <a:r>
              <a:rPr lang="en-US" b="0" i="1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= 18) to the </a:t>
            </a:r>
            <a:r>
              <a:rPr lang="en-US" b="0" i="1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012 Roundtable Survey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question </a:t>
            </a:r>
            <a:r>
              <a:rPr lang="en-US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What green chemistry and engineering related metrics does your company use? Select all that apply.”</a:t>
            </a:r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ercentage of respondents indicating one or more metrics surveyed in use computed as the ratio:</a:t>
            </a:r>
          </a:p>
          <a:p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0" i="1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[total responses – (not sure + none)]/(total responses)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8272" y="6020909"/>
            <a:ext cx="95501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Implementing Green Chemistry in Chemical Manufacturing: A Survey Report </a:t>
            </a:r>
          </a:p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iraud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et al.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ACS </a:t>
            </a:r>
            <a:r>
              <a:rPr lang="en-US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Sust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. Chem. Eng.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014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2237-2242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E4D758-4FA2-4438-A3D7-692BC2CB23E5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47703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567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Arial" panose="020B0604020202020204" pitchFamily="34" charset="0"/>
                <a:cs typeface="Arial" panose="020B0604020202020204" pitchFamily="34" charset="0"/>
              </a:rPr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37571" y="2056874"/>
            <a:ext cx="3633778" cy="399288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14171" y="308732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arget molecule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54790" y="1593496"/>
            <a:ext cx="5006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int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ide-produc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and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y-product?</a:t>
            </a:r>
            <a:endParaRPr lang="en-CA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42171" y="2950963"/>
            <a:ext cx="11811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tarting material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571349" y="5058247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de-product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67300" y="596470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y-product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19157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+mn-lt"/>
              </a:rPr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>
            <a:spLocks noGrp="1"/>
          </p:cNvSpPr>
          <p:nvPr>
            <p:ph sz="quarter" idx="1"/>
          </p:nvPr>
        </p:nvSpPr>
        <p:spPr>
          <a:xfrm>
            <a:off x="368776" y="1253331"/>
            <a:ext cx="10515600" cy="4351338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y-product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a reaction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product formed in the reaction between reagents as a </a:t>
            </a:r>
            <a:r>
              <a:rPr lang="en-US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mechanistic consequence of producing the target product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ssuming a balanced chemical equation that accounts for the production of the target product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Char char="·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s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de-product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a reaction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product formed in the reaction, usually 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sire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arising form a 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ng reaction pathway</a:t>
            </a: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ther than the one that produces the intended target product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68776" y="5912446"/>
            <a:ext cx="118819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Algebra of Organic Synthesis: Green Metrics, Design Strategy, Route Selection, and Optimization, J.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Andrao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011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 CRC Press</a:t>
            </a:r>
          </a:p>
        </p:txBody>
      </p:sp>
    </p:spTree>
    <p:extLst>
      <p:ext uri="{BB962C8B-B14F-4D97-AF65-F5344CB8AC3E}">
        <p14:creationId xmlns:p14="http://schemas.microsoft.com/office/powerpoint/2010/main" val="2386822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250032" y="283672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Arial" panose="020B0604020202020204" pitchFamily="34" charset="0"/>
                <a:cs typeface="Arial" panose="020B0604020202020204" pitchFamily="34" charset="0"/>
              </a:rPr>
              <a:t>Conventional Metrics: Selectivit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8406041"/>
              </p:ext>
            </p:extLst>
          </p:nvPr>
        </p:nvGraphicFramePr>
        <p:xfrm>
          <a:off x="1735138" y="3778250"/>
          <a:ext cx="7723187" cy="197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8" name="CS ChemDraw Drawing" r:id="rId5" imgW="3849358" imgH="984162" progId="ChemDraw.Document.6.0">
                  <p:embed/>
                </p:oleObj>
              </mc:Choice>
              <mc:Fallback>
                <p:oleObj name="CS ChemDraw Drawing" r:id="rId5" imgW="3849358" imgH="984162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5138" y="3778250"/>
                        <a:ext cx="7723187" cy="1974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8C44713A-99FE-42FA-BC63-3BF51557D92C}"/>
              </a:ext>
            </a:extLst>
          </p:cNvPr>
          <p:cNvSpPr/>
          <p:nvPr/>
        </p:nvSpPr>
        <p:spPr>
          <a:xfrm>
            <a:off x="218338" y="6109616"/>
            <a:ext cx="83555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lvo‐Flores, "Sustainable chemistry metrics."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ChemSusChe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09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905-919.</a:t>
            </a:r>
          </a:p>
        </p:txBody>
      </p:sp>
    </p:spTree>
    <p:extLst>
      <p:ext uri="{BB962C8B-B14F-4D97-AF65-F5344CB8AC3E}">
        <p14:creationId xmlns:p14="http://schemas.microsoft.com/office/powerpoint/2010/main" val="207580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Arial" panose="020B0604020202020204" pitchFamily="34" charset="0"/>
                <a:cs typeface="Arial" panose="020B0604020202020204" pitchFamily="34" charset="0"/>
              </a:rPr>
              <a:t>Conventional Metrics: Convers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9658821"/>
              </p:ext>
            </p:extLst>
          </p:nvPr>
        </p:nvGraphicFramePr>
        <p:xfrm>
          <a:off x="1577975" y="4017963"/>
          <a:ext cx="8437563" cy="962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2" name="CS ChemDraw Drawing" r:id="rId5" imgW="4206043" imgH="479666" progId="ChemDraw.Document.6.0">
                  <p:embed/>
                </p:oleObj>
              </mc:Choice>
              <mc:Fallback>
                <p:oleObj name="CS ChemDraw Drawing" r:id="rId5" imgW="4206043" imgH="479666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7975" y="4017963"/>
                        <a:ext cx="8437563" cy="962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218338" y="6109616"/>
            <a:ext cx="83555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lvo‐Flores, "Sustainable chemistry metrics."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ChemSusChe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09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905-919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43300" y="5527030"/>
            <a:ext cx="5105400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Yield = Conversion x Selectivity</a:t>
            </a:r>
            <a:endParaRPr lang="en-CA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286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Arial" panose="020B0604020202020204" pitchFamily="34" charset="0"/>
                <a:cs typeface="Arial" panose="020B0604020202020204" pitchFamily="34" charset="0"/>
              </a:rPr>
              <a:t>How Good Are The “Classic” Metrics?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981200" y="1600200"/>
            <a:ext cx="9715296" cy="4873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ow does classic metrics assess the following issues: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reaction is not quantitative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re are unreacted starting materials 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 have some side product 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 produce by products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’m using solvent (in reaction, in work up)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’m using a catalyst (is it recovered?)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’m using auxiliaries</a:t>
            </a:r>
          </a:p>
          <a:p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2836179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4" name="CS ChemDraw Drawing" r:id="rId5" imgW="3544482" imgH="720735" progId="ChemDraw.Document.6.0">
                  <p:embed/>
                </p:oleObj>
              </mc:Choice>
              <mc:Fallback>
                <p:oleObj name="CS ChemDraw Drawing" r:id="rId5" imgW="3544482" imgH="720735" progId="ChemDraw.Document.6.0">
                  <p:embed/>
                  <p:pic>
                    <p:nvPicPr>
                      <p:cNvPr id="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6" name="Ink 17"/>
              <p14:cNvContentPartPr>
                <a14:cpLocks xmlns:a14="http://schemas.microsoft.com/office/drawing/2010/main" noRot="1" noChangeAspect="1" noEditPoints="1" noChangeArrowheads="1" noChangeShapeType="1"/>
              </p14:cNvContentPartPr>
              <p14:nvPr/>
            </p14:nvContentPartPr>
            <p14:xfrm>
              <a:off x="5275264" y="3937000"/>
              <a:ext cx="3175" cy="6350"/>
            </p14:xfrm>
          </p:contentPart>
        </mc:Choice>
        <mc:Fallback xmlns="">
          <p:pic>
            <p:nvPicPr>
              <p:cNvPr id="16" name="Ink 17"/>
              <p:cNvPicPr>
                <a:picLocks noRot="1" noChangeAspect="1" noEditPoint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268120" y="3930650"/>
                <a:ext cx="17463" cy="19050"/>
              </a:xfrm>
              <a:prstGeom prst="rect">
                <a:avLst/>
              </a:prstGeom>
            </p:spPr>
          </p:pic>
        </mc:Fallback>
      </mc:AlternateContent>
      <p:sp>
        <p:nvSpPr>
          <p:cNvPr id="32" name="Rectangle 31">
            <a:extLst>
              <a:ext uri="{FF2B5EF4-FFF2-40B4-BE49-F238E27FC236}">
                <a16:creationId xmlns:a16="http://schemas.microsoft.com/office/drawing/2014/main" id="{14D9BD3F-7CAA-409B-913D-A31C6E1D797D}"/>
              </a:ext>
            </a:extLst>
          </p:cNvPr>
          <p:cNvSpPr/>
          <p:nvPr/>
        </p:nvSpPr>
        <p:spPr>
          <a:xfrm>
            <a:off x="218338" y="6412792"/>
            <a:ext cx="83555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lvo‐Flores, "Sustainable chemistry metrics." </a:t>
            </a:r>
            <a:r>
              <a:rPr lang="en-US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ChemSusChe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009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905-919.</a:t>
            </a:r>
          </a:p>
        </p:txBody>
      </p:sp>
    </p:spTree>
    <p:extLst>
      <p:ext uri="{BB962C8B-B14F-4D97-AF65-F5344CB8AC3E}">
        <p14:creationId xmlns:p14="http://schemas.microsoft.com/office/powerpoint/2010/main" val="23695153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Arial" panose="020B0604020202020204" pitchFamily="34" charset="0"/>
                <a:cs typeface="Arial" panose="020B0604020202020204" pitchFamily="34" charset="0"/>
              </a:rPr>
              <a:t>How Good Are The “Classic” Metrics?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981200" y="1600200"/>
            <a:ext cx="9715296" cy="4873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does classic metrics assess the following issues: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 reaction is not quantitative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re are unreacted starting materials 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have some side product 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 produce by products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’m using solvent (in reaction, in work up)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’m using a catalyst (is it recovered?)</a:t>
            </a:r>
          </a:p>
          <a:p>
            <a:pPr marL="457200" lvl="1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’m using auxiliari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CA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" name="Object 9"/>
          <p:cNvGraphicFramePr>
            <a:graphicFrameLocks noChangeAspect="1"/>
          </p:cNvGraphicFramePr>
          <p:nvPr>
            <p:extLst/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CS ChemDraw Drawing" r:id="rId5" imgW="3544482" imgH="720735" progId="ChemDraw.Document.6.0">
                  <p:embed/>
                </p:oleObj>
              </mc:Choice>
              <mc:Fallback>
                <p:oleObj name="CS ChemDraw Drawing" r:id="rId5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6" name="Ink 17"/>
              <p14:cNvContentPartPr>
                <a14:cpLocks xmlns:a14="http://schemas.microsoft.com/office/drawing/2010/main" noRot="1" noChangeAspect="1" noEditPoints="1" noChangeArrowheads="1" noChangeShapeType="1"/>
              </p14:cNvContentPartPr>
              <p14:nvPr/>
            </p14:nvContentPartPr>
            <p14:xfrm>
              <a:off x="5275264" y="3937000"/>
              <a:ext cx="3175" cy="6350"/>
            </p14:xfrm>
          </p:contentPart>
        </mc:Choice>
        <mc:Fallback xmlns="">
          <p:pic>
            <p:nvPicPr>
              <p:cNvPr id="16" name="Ink 17"/>
              <p:cNvPicPr>
                <a:picLocks noRot="1" noChangeAspect="1" noEditPoint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268120" y="3930650"/>
                <a:ext cx="17463" cy="19050"/>
              </a:xfrm>
              <a:prstGeom prst="rect">
                <a:avLst/>
              </a:prstGeom>
            </p:spPr>
          </p:pic>
        </mc:Fallback>
      </mc:AlternateContent>
      <p:pic>
        <p:nvPicPr>
          <p:cNvPr id="17" name="Picture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813" y="4769519"/>
            <a:ext cx="499486" cy="4994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701" y="3535681"/>
            <a:ext cx="479425" cy="47942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3757" y="5161280"/>
            <a:ext cx="499486" cy="49948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1858" y="5555487"/>
            <a:ext cx="499486" cy="49948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494" y="5943421"/>
            <a:ext cx="499486" cy="49948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009" y="3949959"/>
            <a:ext cx="479425" cy="4794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5466" y="4372045"/>
            <a:ext cx="479425" cy="4794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10047629" y="3582662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vers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065916" y="4005005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vers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019473" y="4447029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lectivity</a:t>
            </a:r>
          </a:p>
        </p:txBody>
      </p:sp>
      <p:sp>
        <p:nvSpPr>
          <p:cNvPr id="27" name="Right Brace 26"/>
          <p:cNvSpPr/>
          <p:nvPr/>
        </p:nvSpPr>
        <p:spPr>
          <a:xfrm>
            <a:off x="10072356" y="4782408"/>
            <a:ext cx="476838" cy="14964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604763" y="5068978"/>
            <a:ext cx="152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eds Green Metric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4D9BD3F-7CAA-409B-913D-A31C6E1D797D}"/>
              </a:ext>
            </a:extLst>
          </p:cNvPr>
          <p:cNvSpPr/>
          <p:nvPr/>
        </p:nvSpPr>
        <p:spPr>
          <a:xfrm>
            <a:off x="218338" y="6412792"/>
            <a:ext cx="83555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lvo‐Flores, "Sustainable chemistry metrics." </a:t>
            </a: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emSusChe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09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905-919.</a:t>
            </a:r>
          </a:p>
        </p:txBody>
      </p:sp>
    </p:spTree>
    <p:extLst>
      <p:ext uri="{BB962C8B-B14F-4D97-AF65-F5344CB8AC3E}">
        <p14:creationId xmlns:p14="http://schemas.microsoft.com/office/powerpoint/2010/main" val="2010241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 animBg="1"/>
      <p:bldP spid="2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51" y="100805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The Green Metrics</a:t>
            </a:r>
            <a:endParaRPr lang="en-CA" sz="4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>
          <a:xfrm>
            <a:off x="615628" y="1266628"/>
            <a:ext cx="6235038" cy="4351338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aterials efficiency:</a:t>
            </a:r>
          </a:p>
          <a:p>
            <a:pPr marL="0" indent="0">
              <a:buNone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-factor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tom economy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rbon efficiency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-factor based on molecular weight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ffective mass yield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tual atom economy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vironmental quotient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ss intensity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terial recovery parameter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action mass efficiency</a:t>
            </a:r>
          </a:p>
          <a:p>
            <a:pPr lvl="1"/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2"/>
          </p:nvPr>
        </p:nvSpPr>
        <p:spPr>
          <a:xfrm>
            <a:off x="6096000" y="1315815"/>
            <a:ext cx="5181600" cy="4351338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nergy efficiency:</a:t>
            </a:r>
          </a:p>
          <a:p>
            <a:pPr marL="0" indent="0">
              <a:buNone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ergy intensity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aste treatment energy</a:t>
            </a:r>
          </a:p>
          <a:p>
            <a:pPr marL="0" indent="0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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olvent recovery energy</a:t>
            </a:r>
            <a:endParaRPr lang="en-C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5628" y="5716340"/>
            <a:ext cx="947226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From: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Calvo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‐Flores, F.G. "Sustainable chemistry metrics." </a:t>
            </a:r>
            <a:r>
              <a:rPr lang="en-US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ChemSusChem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2009,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905-919.</a:t>
            </a:r>
          </a:p>
          <a:p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If you want even more: “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Algebra of Organic Synthesis: Green Metrics, Design Strategy, Route Selection, and Optimization”, J.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Andrao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011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) CRC Pres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221" y="1727251"/>
            <a:ext cx="812698" cy="81269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894" y="1781040"/>
            <a:ext cx="812698" cy="81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107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57150">
          <a:defRPr sz="1400" dirty="0">
            <a:hlinkClick xmlns:r="http://schemas.openxmlformats.org/officeDocument/2006/relationships" r:id="" action="ppaction://noaction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80</TotalTime>
  <Words>1288</Words>
  <Application>Microsoft Office PowerPoint</Application>
  <PresentationFormat>Widescreen</PresentationFormat>
  <Paragraphs>228</Paragraphs>
  <Slides>27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alibri Light</vt:lpstr>
      <vt:lpstr>Cambria Math</vt:lpstr>
      <vt:lpstr>Symbol</vt:lpstr>
      <vt:lpstr>Times New Roman</vt:lpstr>
      <vt:lpstr>Wingdings</vt:lpstr>
      <vt:lpstr>Office Theme</vt:lpstr>
      <vt:lpstr>CS ChemDraw Drawing</vt:lpstr>
      <vt:lpstr>Yale-UNIDO Train-the-Facilitator Workshop in Green Chemistry</vt:lpstr>
      <vt:lpstr>Conventional Metrics: Yield</vt:lpstr>
      <vt:lpstr>By-product vs side product</vt:lpstr>
      <vt:lpstr>By-product vs side product</vt:lpstr>
      <vt:lpstr>Conventional Metrics: Selectivity</vt:lpstr>
      <vt:lpstr>Conventional Metrics: Conversion</vt:lpstr>
      <vt:lpstr>How Good Are The “Classic” Metrics?</vt:lpstr>
      <vt:lpstr>How Good Are The “Classic” Metrics?</vt:lpstr>
      <vt:lpstr>The Green Metrics</vt:lpstr>
      <vt:lpstr>The Environmental Factor (E-Factor)</vt:lpstr>
      <vt:lpstr>PowerPoint Presentation</vt:lpstr>
      <vt:lpstr>Environmental Factor (E-Factor)</vt:lpstr>
      <vt:lpstr>E-Factor Example</vt:lpstr>
      <vt:lpstr>Process Mass Intensity (PMI)</vt:lpstr>
      <vt:lpstr>Atom Economy</vt:lpstr>
      <vt:lpstr>Atom Economy: Example 1</vt:lpstr>
      <vt:lpstr>Atom Economy: Example 2 - Ibuprofen Synthesis</vt:lpstr>
      <vt:lpstr>PowerPoint Presentation</vt:lpstr>
      <vt:lpstr>PowerPoint Presentation</vt:lpstr>
      <vt:lpstr>Exercise: Calculate AE of the Greener Synthesis of Ibuprofen</vt:lpstr>
      <vt:lpstr>Exercise: Calculate AE of the Greener Synthesis of Ibuprofen</vt:lpstr>
      <vt:lpstr>PowerPoint Presentation</vt:lpstr>
      <vt:lpstr>The Brown Synthesis of Ibuprofen</vt:lpstr>
      <vt:lpstr>The Brown Synthesis of Ibuprofen</vt:lpstr>
      <vt:lpstr>PowerPoint Presentation</vt:lpstr>
      <vt:lpstr>Green Chemistry-Related Metrics Used in Chemical Manufactur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TF</cp:lastModifiedBy>
  <cp:revision>193</cp:revision>
  <dcterms:created xsi:type="dcterms:W3CDTF">2018-01-15T20:20:35Z</dcterms:created>
  <dcterms:modified xsi:type="dcterms:W3CDTF">2018-11-27T02:26:30Z</dcterms:modified>
</cp:coreProperties>
</file>